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9BD715-AADD-4C13-B3A9-1EFFE377E2EE}" v="21" dt="2023-03-11T21:41:45.09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132" y="750"/>
      </p:cViewPr>
      <p:guideLst>
        <p:guide orient="horz" pos="648"/>
        <p:guide pos="3552"/>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699BD715-AADD-4C13-B3A9-1EFFE377E2EE}"/>
    <pc:docChg chg="custSel modSld">
      <pc:chgData name="Roberto Gallardo" userId="49a044883f185952" providerId="LiveId" clId="{699BD715-AADD-4C13-B3A9-1EFFE377E2EE}" dt="2023-03-11T21:41:38.258" v="236"/>
      <pc:docMkLst>
        <pc:docMk/>
      </pc:docMkLst>
      <pc:sldChg chg="addSp modSp mod">
        <pc:chgData name="Roberto Gallardo" userId="49a044883f185952" providerId="LiveId" clId="{699BD715-AADD-4C13-B3A9-1EFFE377E2EE}" dt="2023-03-11T21:26:32.750" v="7" actId="1076"/>
        <pc:sldMkLst>
          <pc:docMk/>
          <pc:sldMk cId="1418533539" sldId="271"/>
        </pc:sldMkLst>
        <pc:picChg chg="add mod">
          <ac:chgData name="Roberto Gallardo" userId="49a044883f185952" providerId="LiveId" clId="{699BD715-AADD-4C13-B3A9-1EFFE377E2EE}" dt="2023-03-11T21:26:32.750" v="7" actId="1076"/>
          <ac:picMkLst>
            <pc:docMk/>
            <pc:sldMk cId="1418533539" sldId="271"/>
            <ac:picMk id="6" creationId="{3BA2CDBB-D807-3CF6-A027-50BD4D971ACF}"/>
          </ac:picMkLst>
        </pc:picChg>
      </pc:sldChg>
      <pc:sldChg chg="addSp modSp mod">
        <pc:chgData name="Roberto Gallardo" userId="49a044883f185952" providerId="LiveId" clId="{699BD715-AADD-4C13-B3A9-1EFFE377E2EE}" dt="2023-03-11T21:28:51.185" v="80" actId="1076"/>
        <pc:sldMkLst>
          <pc:docMk/>
          <pc:sldMk cId="2124848710" sldId="281"/>
        </pc:sldMkLst>
        <pc:picChg chg="add mod">
          <ac:chgData name="Roberto Gallardo" userId="49a044883f185952" providerId="LiveId" clId="{699BD715-AADD-4C13-B3A9-1EFFE377E2EE}" dt="2023-03-11T21:28:51.185" v="80" actId="1076"/>
          <ac:picMkLst>
            <pc:docMk/>
            <pc:sldMk cId="2124848710" sldId="281"/>
            <ac:picMk id="6" creationId="{0331F837-FA7C-460A-8095-54E5FC7C2EA2}"/>
          </ac:picMkLst>
        </pc:picChg>
      </pc:sldChg>
      <pc:sldChg chg="addSp modSp mod">
        <pc:chgData name="Roberto Gallardo" userId="49a044883f185952" providerId="LiveId" clId="{699BD715-AADD-4C13-B3A9-1EFFE377E2EE}" dt="2023-03-11T21:29:10.996" v="93" actId="1038"/>
        <pc:sldMkLst>
          <pc:docMk/>
          <pc:sldMk cId="2028175529" sldId="282"/>
        </pc:sldMkLst>
        <pc:picChg chg="add mod">
          <ac:chgData name="Roberto Gallardo" userId="49a044883f185952" providerId="LiveId" clId="{699BD715-AADD-4C13-B3A9-1EFFE377E2EE}" dt="2023-03-11T21:29:10.996" v="93" actId="1038"/>
          <ac:picMkLst>
            <pc:docMk/>
            <pc:sldMk cId="2028175529" sldId="282"/>
            <ac:picMk id="7" creationId="{0454287D-A926-95EC-3A54-2E0FE73543A9}"/>
          </ac:picMkLst>
        </pc:picChg>
      </pc:sldChg>
      <pc:sldChg chg="addSp modSp mod">
        <pc:chgData name="Roberto Gallardo" userId="49a044883f185952" providerId="LiveId" clId="{699BD715-AADD-4C13-B3A9-1EFFE377E2EE}" dt="2023-03-11T21:29:31.709" v="105" actId="1076"/>
        <pc:sldMkLst>
          <pc:docMk/>
          <pc:sldMk cId="1326517747" sldId="283"/>
        </pc:sldMkLst>
        <pc:picChg chg="add mod">
          <ac:chgData name="Roberto Gallardo" userId="49a044883f185952" providerId="LiveId" clId="{699BD715-AADD-4C13-B3A9-1EFFE377E2EE}" dt="2023-03-11T21:29:31.709" v="105" actId="1076"/>
          <ac:picMkLst>
            <pc:docMk/>
            <pc:sldMk cId="1326517747" sldId="283"/>
            <ac:picMk id="7" creationId="{72DBD114-415E-B194-F63F-4455EFE1AA9C}"/>
          </ac:picMkLst>
        </pc:picChg>
      </pc:sldChg>
      <pc:sldChg chg="addSp modSp mod">
        <pc:chgData name="Roberto Gallardo" userId="49a044883f185952" providerId="LiveId" clId="{699BD715-AADD-4C13-B3A9-1EFFE377E2EE}" dt="2023-03-11T21:34:34.672" v="114" actId="1076"/>
        <pc:sldMkLst>
          <pc:docMk/>
          <pc:sldMk cId="783739251" sldId="284"/>
        </pc:sldMkLst>
        <pc:picChg chg="add mod">
          <ac:chgData name="Roberto Gallardo" userId="49a044883f185952" providerId="LiveId" clId="{699BD715-AADD-4C13-B3A9-1EFFE377E2EE}" dt="2023-03-11T21:34:34.672" v="114" actId="1076"/>
          <ac:picMkLst>
            <pc:docMk/>
            <pc:sldMk cId="783739251" sldId="284"/>
            <ac:picMk id="7" creationId="{AEEB4D6B-6A88-E35C-3E51-54691BFD9FCD}"/>
          </ac:picMkLst>
        </pc:picChg>
      </pc:sldChg>
      <pc:sldChg chg="addSp modSp mod">
        <pc:chgData name="Roberto Gallardo" userId="49a044883f185952" providerId="LiveId" clId="{699BD715-AADD-4C13-B3A9-1EFFE377E2EE}" dt="2023-03-11T21:35:04.240" v="131" actId="1076"/>
        <pc:sldMkLst>
          <pc:docMk/>
          <pc:sldMk cId="1676122233" sldId="285"/>
        </pc:sldMkLst>
        <pc:picChg chg="add mod">
          <ac:chgData name="Roberto Gallardo" userId="49a044883f185952" providerId="LiveId" clId="{699BD715-AADD-4C13-B3A9-1EFFE377E2EE}" dt="2023-03-11T21:35:04.240" v="131" actId="1076"/>
          <ac:picMkLst>
            <pc:docMk/>
            <pc:sldMk cId="1676122233" sldId="285"/>
            <ac:picMk id="7" creationId="{667C7F37-29CA-E51F-FE2A-8A97CC07CE14}"/>
          </ac:picMkLst>
        </pc:picChg>
      </pc:sldChg>
      <pc:sldChg chg="addSp modSp mod">
        <pc:chgData name="Roberto Gallardo" userId="49a044883f185952" providerId="LiveId" clId="{699BD715-AADD-4C13-B3A9-1EFFE377E2EE}" dt="2023-03-11T21:35:29.529" v="145" actId="1076"/>
        <pc:sldMkLst>
          <pc:docMk/>
          <pc:sldMk cId="3100398757" sldId="286"/>
        </pc:sldMkLst>
        <pc:picChg chg="add mod">
          <ac:chgData name="Roberto Gallardo" userId="49a044883f185952" providerId="LiveId" clId="{699BD715-AADD-4C13-B3A9-1EFFE377E2EE}" dt="2023-03-11T21:35:29.529" v="145" actId="1076"/>
          <ac:picMkLst>
            <pc:docMk/>
            <pc:sldMk cId="3100398757" sldId="286"/>
            <ac:picMk id="7" creationId="{19900EB5-B166-C26D-4A99-14F75A5A7AF9}"/>
          </ac:picMkLst>
        </pc:picChg>
      </pc:sldChg>
      <pc:sldChg chg="addSp modSp mod">
        <pc:chgData name="Roberto Gallardo" userId="49a044883f185952" providerId="LiveId" clId="{699BD715-AADD-4C13-B3A9-1EFFE377E2EE}" dt="2023-03-11T21:35:52.776" v="158" actId="1076"/>
        <pc:sldMkLst>
          <pc:docMk/>
          <pc:sldMk cId="1546475425" sldId="287"/>
        </pc:sldMkLst>
        <pc:picChg chg="add mod">
          <ac:chgData name="Roberto Gallardo" userId="49a044883f185952" providerId="LiveId" clId="{699BD715-AADD-4C13-B3A9-1EFFE377E2EE}" dt="2023-03-11T21:35:52.776" v="158" actId="1076"/>
          <ac:picMkLst>
            <pc:docMk/>
            <pc:sldMk cId="1546475425" sldId="287"/>
            <ac:picMk id="7" creationId="{A50D001B-3D6E-3D02-8135-07C12029D6CC}"/>
          </ac:picMkLst>
        </pc:picChg>
      </pc:sldChg>
      <pc:sldChg chg="addSp modSp mod">
        <pc:chgData name="Roberto Gallardo" userId="49a044883f185952" providerId="LiveId" clId="{699BD715-AADD-4C13-B3A9-1EFFE377E2EE}" dt="2023-03-11T21:36:35.060" v="183" actId="1076"/>
        <pc:sldMkLst>
          <pc:docMk/>
          <pc:sldMk cId="1380517306" sldId="288"/>
        </pc:sldMkLst>
        <pc:picChg chg="add mod">
          <ac:chgData name="Roberto Gallardo" userId="49a044883f185952" providerId="LiveId" clId="{699BD715-AADD-4C13-B3A9-1EFFE377E2EE}" dt="2023-03-11T21:36:35.060" v="183" actId="1076"/>
          <ac:picMkLst>
            <pc:docMk/>
            <pc:sldMk cId="1380517306" sldId="288"/>
            <ac:picMk id="7" creationId="{9178B999-B814-F49E-19E0-931DDDBE71B9}"/>
          </ac:picMkLst>
        </pc:picChg>
      </pc:sldChg>
      <pc:sldChg chg="addSp delSp modSp mod">
        <pc:chgData name="Roberto Gallardo" userId="49a044883f185952" providerId="LiveId" clId="{699BD715-AADD-4C13-B3A9-1EFFE377E2EE}" dt="2023-03-11T21:41:38.258" v="236"/>
        <pc:sldMkLst>
          <pc:docMk/>
          <pc:sldMk cId="1388671151" sldId="289"/>
        </pc:sldMkLst>
        <pc:graphicFrameChg chg="add mod">
          <ac:chgData name="Roberto Gallardo" userId="49a044883f185952" providerId="LiveId" clId="{699BD715-AADD-4C13-B3A9-1EFFE377E2EE}" dt="2023-03-11T21:41:38.258" v="236"/>
          <ac:graphicFrameMkLst>
            <pc:docMk/>
            <pc:sldMk cId="1388671151" sldId="289"/>
            <ac:graphicFrameMk id="8" creationId="{937E20C7-BA28-33AE-95F2-4EF795103EA0}"/>
          </ac:graphicFrameMkLst>
        </pc:graphicFrameChg>
        <pc:picChg chg="del">
          <ac:chgData name="Roberto Gallardo" userId="49a044883f185952" providerId="LiveId" clId="{699BD715-AADD-4C13-B3A9-1EFFE377E2EE}" dt="2023-03-11T21:41:37.668" v="235" actId="478"/>
          <ac:picMkLst>
            <pc:docMk/>
            <pc:sldMk cId="1388671151" sldId="289"/>
            <ac:picMk id="6" creationId="{A74CD4DB-1DF1-364A-4A1D-48CC949C7B70}"/>
          </ac:picMkLst>
        </pc:picChg>
        <pc:picChg chg="add mod">
          <ac:chgData name="Roberto Gallardo" userId="49a044883f185952" providerId="LiveId" clId="{699BD715-AADD-4C13-B3A9-1EFFE377E2EE}" dt="2023-03-11T21:37:03.957" v="203" actId="1035"/>
          <ac:picMkLst>
            <pc:docMk/>
            <pc:sldMk cId="1388671151" sldId="289"/>
            <ac:picMk id="7" creationId="{D9C909B0-12A8-5066-F4A6-C5C32EA6963D}"/>
          </ac:picMkLst>
        </pc:picChg>
      </pc:sldChg>
      <pc:sldChg chg="addSp modSp mod">
        <pc:chgData name="Roberto Gallardo" userId="49a044883f185952" providerId="LiveId" clId="{699BD715-AADD-4C13-B3A9-1EFFE377E2EE}" dt="2023-03-11T21:37:53.792" v="227" actId="1076"/>
        <pc:sldMkLst>
          <pc:docMk/>
          <pc:sldMk cId="2355376039" sldId="290"/>
        </pc:sldMkLst>
        <pc:picChg chg="add mod">
          <ac:chgData name="Roberto Gallardo" userId="49a044883f185952" providerId="LiveId" clId="{699BD715-AADD-4C13-B3A9-1EFFE377E2EE}" dt="2023-03-11T21:37:53.792" v="227" actId="1076"/>
          <ac:picMkLst>
            <pc:docMk/>
            <pc:sldMk cId="2355376039" sldId="290"/>
            <ac:picMk id="8" creationId="{B5CEEF68-2E8B-9D5F-E6B4-3B38AE89C8B7}"/>
          </ac:picMkLst>
        </pc:picChg>
      </pc:sldChg>
      <pc:sldChg chg="addSp modSp mod">
        <pc:chgData name="Roberto Gallardo" userId="49a044883f185952" providerId="LiveId" clId="{699BD715-AADD-4C13-B3A9-1EFFE377E2EE}" dt="2023-03-11T21:38:06.609" v="234" actId="14100"/>
        <pc:sldMkLst>
          <pc:docMk/>
          <pc:sldMk cId="3757257295" sldId="291"/>
        </pc:sldMkLst>
        <pc:picChg chg="add mod">
          <ac:chgData name="Roberto Gallardo" userId="49a044883f185952" providerId="LiveId" clId="{699BD715-AADD-4C13-B3A9-1EFFE377E2EE}" dt="2023-03-11T21:38:06.609" v="234" actId="14100"/>
          <ac:picMkLst>
            <pc:docMk/>
            <pc:sldMk cId="3757257295" sldId="291"/>
            <ac:picMk id="8" creationId="{F29AC2CC-7AF5-E0D5-F4BD-C9EDC2A3D339}"/>
          </ac:picMkLst>
        </pc:picChg>
      </pc:sldChg>
      <pc:sldChg chg="addSp modSp mod">
        <pc:chgData name="Roberto Gallardo" userId="49a044883f185952" providerId="LiveId" clId="{699BD715-AADD-4C13-B3A9-1EFFE377E2EE}" dt="2023-03-11T21:36:16.316" v="171" actId="1076"/>
        <pc:sldMkLst>
          <pc:docMk/>
          <pc:sldMk cId="1259856727" sldId="292"/>
        </pc:sldMkLst>
        <pc:picChg chg="add mod">
          <ac:chgData name="Roberto Gallardo" userId="49a044883f185952" providerId="LiveId" clId="{699BD715-AADD-4C13-B3A9-1EFFE377E2EE}" dt="2023-03-11T21:36:16.316" v="171" actId="1076"/>
          <ac:picMkLst>
            <pc:docMk/>
            <pc:sldMk cId="1259856727" sldId="292"/>
            <ac:picMk id="7" creationId="{46636DCC-345F-7135-E389-F4401A3046FB}"/>
          </ac:picMkLst>
        </pc:picChg>
      </pc:sldChg>
      <pc:sldChg chg="addSp modSp mod">
        <pc:chgData name="Roberto Gallardo" userId="49a044883f185952" providerId="LiveId" clId="{699BD715-AADD-4C13-B3A9-1EFFE377E2EE}" dt="2023-03-11T21:28:31.383" v="67" actId="1076"/>
        <pc:sldMkLst>
          <pc:docMk/>
          <pc:sldMk cId="3324519687" sldId="293"/>
        </pc:sldMkLst>
        <pc:picChg chg="add mod">
          <ac:chgData name="Roberto Gallardo" userId="49a044883f185952" providerId="LiveId" clId="{699BD715-AADD-4C13-B3A9-1EFFE377E2EE}" dt="2023-03-11T21:28:31.383" v="67" actId="1076"/>
          <ac:picMkLst>
            <pc:docMk/>
            <pc:sldMk cId="3324519687" sldId="293"/>
            <ac:picMk id="7" creationId="{520C9356-1FE4-692C-BB2F-CBC76418306A}"/>
          </ac:picMkLst>
        </pc:picChg>
      </pc:sldChg>
      <pc:sldChg chg="addSp modSp mod">
        <pc:chgData name="Roberto Gallardo" userId="49a044883f185952" providerId="LiveId" clId="{699BD715-AADD-4C13-B3A9-1EFFE377E2EE}" dt="2023-03-11T21:27:45.032" v="38" actId="1076"/>
        <pc:sldMkLst>
          <pc:docMk/>
          <pc:sldMk cId="3256182630" sldId="295"/>
        </pc:sldMkLst>
        <pc:picChg chg="add mod">
          <ac:chgData name="Roberto Gallardo" userId="49a044883f185952" providerId="LiveId" clId="{699BD715-AADD-4C13-B3A9-1EFFE377E2EE}" dt="2023-03-11T21:27:45.032" v="38" actId="1076"/>
          <ac:picMkLst>
            <pc:docMk/>
            <pc:sldMk cId="3256182630" sldId="295"/>
            <ac:picMk id="7" creationId="{30438C89-EE31-D312-4154-7364E092829D}"/>
          </ac:picMkLst>
        </pc:picChg>
      </pc:sldChg>
      <pc:sldChg chg="addSp modSp mod">
        <pc:chgData name="Roberto Gallardo" userId="49a044883f185952" providerId="LiveId" clId="{699BD715-AADD-4C13-B3A9-1EFFE377E2EE}" dt="2023-03-11T21:28:11.449" v="54" actId="1076"/>
        <pc:sldMkLst>
          <pc:docMk/>
          <pc:sldMk cId="4057156843" sldId="296"/>
        </pc:sldMkLst>
        <pc:picChg chg="add mod">
          <ac:chgData name="Roberto Gallardo" userId="49a044883f185952" providerId="LiveId" clId="{699BD715-AADD-4C13-B3A9-1EFFE377E2EE}" dt="2023-03-11T21:28:11.449" v="54" actId="1076"/>
          <ac:picMkLst>
            <pc:docMk/>
            <pc:sldMk cId="4057156843" sldId="296"/>
            <ac:picMk id="7" creationId="{D0BAE42D-F126-97DB-AD92-5677E03E994F}"/>
          </ac:picMkLst>
        </pc:picChg>
      </pc:sldChg>
      <pc:sldChg chg="addSp modSp mod">
        <pc:chgData name="Roberto Gallardo" userId="49a044883f185952" providerId="LiveId" clId="{699BD715-AADD-4C13-B3A9-1EFFE377E2EE}" dt="2023-03-11T21:27:14.740" v="27" actId="1076"/>
        <pc:sldMkLst>
          <pc:docMk/>
          <pc:sldMk cId="2080110827" sldId="297"/>
        </pc:sldMkLst>
        <pc:picChg chg="add mod">
          <ac:chgData name="Roberto Gallardo" userId="49a044883f185952" providerId="LiveId" clId="{699BD715-AADD-4C13-B3A9-1EFFE377E2EE}" dt="2023-03-11T21:27:14.740" v="27" actId="1076"/>
          <ac:picMkLst>
            <pc:docMk/>
            <pc:sldMk cId="2080110827" sldId="297"/>
            <ac:picMk id="6" creationId="{617B104E-D176-62EA-A6EC-83F16A2B0459}"/>
          </ac:picMkLst>
        </pc:picChg>
      </pc:sldChg>
      <pc:sldChg chg="addSp modSp mod">
        <pc:chgData name="Roberto Gallardo" userId="49a044883f185952" providerId="LiveId" clId="{699BD715-AADD-4C13-B3A9-1EFFE377E2EE}" dt="2023-03-11T21:26:55.788" v="19" actId="1076"/>
        <pc:sldMkLst>
          <pc:docMk/>
          <pc:sldMk cId="1532666867" sldId="298"/>
        </pc:sldMkLst>
        <pc:picChg chg="add mod">
          <ac:chgData name="Roberto Gallardo" userId="49a044883f185952" providerId="LiveId" clId="{699BD715-AADD-4C13-B3A9-1EFFE377E2EE}" dt="2023-03-11T21:26:55.788" v="19" actId="1076"/>
          <ac:picMkLst>
            <pc:docMk/>
            <pc:sldMk cId="1532666867" sldId="298"/>
            <ac:picMk id="6" creationId="{371F6C8A-8426-DA18-73E8-EF4B0E3FF0EF}"/>
          </ac:picMkLst>
        </pc:picChg>
      </pc:sldChg>
      <pc:sldChg chg="addSp modSp mod">
        <pc:chgData name="Roberto Gallardo" userId="49a044883f185952" providerId="LiveId" clId="{699BD715-AADD-4C13-B3A9-1EFFE377E2EE}" dt="2023-03-11T21:37:34.384" v="215" actId="1076"/>
        <pc:sldMkLst>
          <pc:docMk/>
          <pc:sldMk cId="1951376777" sldId="299"/>
        </pc:sldMkLst>
        <pc:picChg chg="add mod">
          <ac:chgData name="Roberto Gallardo" userId="49a044883f185952" providerId="LiveId" clId="{699BD715-AADD-4C13-B3A9-1EFFE377E2EE}" dt="2023-03-11T21:37:34.384" v="215" actId="1076"/>
          <ac:picMkLst>
            <pc:docMk/>
            <pc:sldMk cId="1951376777" sldId="299"/>
            <ac:picMk id="7" creationId="{EC9BC37B-D13B-134B-0690-E1A3FC853DBB}"/>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1/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1/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Bertie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AFD9EE9-30E5-29EE-9B3E-76D9EF7FFA89}"/>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A107EAF5-FF50-6C51-FB23-93790C25FEC2}"/>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3BA2CDBB-D807-3CF6-A027-50BD4D971A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371F6C8A-8426-DA18-73E8-EF4B0E3FF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1" y="1024554"/>
            <a:ext cx="7602618"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617B104E-D176-62EA-A6EC-83F16A2B04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AFF6B78-4ECE-9BEB-8C30-079D576D284F}"/>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30438C89-EE31-D312-4154-7364E09282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415052"/>
            <a:ext cx="6400800" cy="4526371"/>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D9A51E5-8F92-8446-AC93-51F3F23FC122}"/>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D0BAE42D-F126-97DB-AD92-5677E03E99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4" y="1413464"/>
            <a:ext cx="6400801"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EFECB252-C24F-99B4-7F57-153149D65F7D}"/>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520C9356-1FE4-692C-BB2F-CBC7641830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269"/>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8D568FFE-9B69-4114-588F-59F9E6845C3D}"/>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0331F837-FA7C-460A-8095-54E5FC7C2E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4" y="1412669"/>
            <a:ext cx="6400801" cy="4526373"/>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E25ADBED-0095-47D8-CFC1-A25AA8406316}"/>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0454287D-A926-95EC-3A54-2E0FE73543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343" y="141346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77D405E4-448B-634B-910A-2868D1E6C221}"/>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72DBD114-415E-B194-F63F-4455EFE1AA9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7905"/>
            <a:ext cx="6383055" cy="4513823"/>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1FE7890A-29A0-111D-EF92-6039E751DDE7}"/>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EEB4D6B-6A88-E35C-3E51-54691BFD9F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5917"/>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7BAAEE6D-64AE-584B-4CDF-B74E9E305D9C}"/>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67C7F37-29CA-E51F-FE2A-8A97CC07CE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701"/>
            <a:ext cx="6400800" cy="4526371"/>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51B7BB46-05E8-3C80-99DF-8C72538C30C9}"/>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19900EB5-B166-C26D-4A99-14F75A5A7A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754"/>
            <a:ext cx="6410326" cy="4533108"/>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14D155F2-EC4D-4FA5-24CC-53AA820B359E}"/>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A50D001B-3D6E-3D02-8135-07C12029D6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387"/>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92D663A1-DD92-0A1E-726C-84A48F835E43}"/>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6636DCC-345F-7135-E389-F4401A3046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7480" y="1406772"/>
            <a:ext cx="6400801"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35B54287-4736-EA3C-0EAE-120A230D1687}"/>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9178B999-B814-F49E-19E0-931DDDBE71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1402"/>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9C909B0-12A8-5066-F4A6-C5C32EA696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44962" y="1414195"/>
            <a:ext cx="6403347" cy="4528173"/>
          </a:xfrm>
          <a:prstGeom prst="rect">
            <a:avLst/>
          </a:prstGeom>
        </p:spPr>
      </p:pic>
      <p:pic>
        <p:nvPicPr>
          <p:cNvPr id="9" name="Picture 8">
            <a:extLst>
              <a:ext uri="{FF2B5EF4-FFF2-40B4-BE49-F238E27FC236}">
                <a16:creationId xmlns:a16="http://schemas.microsoft.com/office/drawing/2014/main" id="{0A073513-DBE9-19ED-2A94-D6F7CFF5E1D3}"/>
              </a:ext>
            </a:extLst>
          </p:cNvPr>
          <p:cNvPicPr/>
          <p:nvPr/>
        </p:nvPicPr>
        <p:blipFill>
          <a:blip r:embed="rId3"/>
          <a:stretch>
            <a:fillRect/>
          </a:stretch>
        </p:blipFill>
        <p:spPr>
          <a:xfrm>
            <a:off x="152400" y="1774368"/>
            <a:ext cx="5309500" cy="3807823"/>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5C6B2881-4D31-8274-81C7-D7C4AF03EC44}"/>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Map&#10;&#10;Description automatically generated">
            <a:extLst>
              <a:ext uri="{FF2B5EF4-FFF2-40B4-BE49-F238E27FC236}">
                <a16:creationId xmlns:a16="http://schemas.microsoft.com/office/drawing/2014/main" id="{EC9BC37B-D13B-134B-0690-E1A3FC853DB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464"/>
            <a:ext cx="6400800" cy="4526372"/>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25BD9AEB-0F7C-2C07-9816-6A82F45650C8}"/>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B5CEEF68-2E8B-9D5F-E6B4-3B38AE89C8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147"/>
            <a:ext cx="6400800" cy="4526371"/>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AD4D7C09-95E7-CC3A-ACB4-38F4762E9597}"/>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35621235-C977-2A74-2E24-D75E0B580CDE}"/>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F29AC2CC-7AF5-E0D5-F4BD-C9EDC2A3D33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17229"/>
            <a:ext cx="6400800"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0C23E76F-820D-0948-C94F-08EE73CF35F5}"/>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85BAB51-C434-5161-5765-D96D762F44CA}"/>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07304A71-E8E5-F576-F6AB-7432ADFB535B}"/>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26213" y="2894856"/>
            <a:ext cx="1198148" cy="2285278"/>
            <a:chOff x="10485745" y="2744371"/>
            <a:chExt cx="1198148" cy="2285278"/>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7558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7</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502964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744371"/>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752387"/>
              <a:ext cx="0" cy="62319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68137"/>
              <a:ext cx="0" cy="7615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76257" y="2099727"/>
            <a:ext cx="1198148" cy="2471044"/>
            <a:chOff x="2775759" y="2073763"/>
            <a:chExt cx="1198148" cy="2471044"/>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87690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07376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073763"/>
              <a:ext cx="0" cy="803145"/>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69460"/>
              <a:ext cx="0" cy="77534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41939FC-7559-BDE0-D4B0-83FAF113D154}"/>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FF75F295-0F7B-5C06-B6C3-53D3F8EE11A5}"/>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343F754A-DFE3-A1DC-4E04-D35BB4FAF6A6}"/>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820C26E6-008B-BDBD-9661-BB2C482A4A89}"/>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A025C47F-DDCB-7146-ABF4-7600E1DB7BC4}"/>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793CEB92-3A3A-72A0-6BEF-69BADF211D79}"/>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24FCC517-D604-DF56-4873-5D9C881C085A}"/>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E0EC0C19-403E-B8A0-332F-24619CB463D8}"/>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82</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42</cp:revision>
  <dcterms:created xsi:type="dcterms:W3CDTF">2022-07-04T13:32:28Z</dcterms:created>
  <dcterms:modified xsi:type="dcterms:W3CDTF">2023-03-11T21:41:47Z</dcterms:modified>
</cp:coreProperties>
</file>